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8"/>
  </p:notesMasterIdLst>
  <p:sldIdLst>
    <p:sldId id="578" r:id="rId2"/>
    <p:sldId id="275" r:id="rId3"/>
    <p:sldId id="575" r:id="rId4"/>
    <p:sldId id="576" r:id="rId5"/>
    <p:sldId id="580" r:id="rId6"/>
    <p:sldId id="262" r:id="rId7"/>
  </p:sldIdLst>
  <p:sldSz cx="12192000" cy="6858000"/>
  <p:notesSz cx="6858000" cy="9144000"/>
  <p:custDataLst>
    <p:tags r:id="rId9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108" d="100"/>
          <a:sy n="108" d="100"/>
        </p:scale>
        <p:origin x="114" y="9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3ED2D-D42F-4B93-B650-26CC799E01CE}" type="datetimeFigureOut">
              <a:rPr lang="sv-SE" smtClean="0"/>
              <a:t>2022-08-11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8481F3-3343-4D9C-8634-45E1E7B344D1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84376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3609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3477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59619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89381-AA69-4583-B338-761E2434C0DF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C277B5-9E8B-4401-9287-0EBB494EB9CF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FB749-B0ED-4187-9D4C-C93D7969D470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 dirty="0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1266451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0F13C-9117-453B-94B1-8999B3597591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92C9E2-18D6-4B78-B542-17BDAFCA2AFD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D7ED75-BF32-4D41-9A09-AEEDADF407D0}" type="datetime1">
              <a:rPr lang="nb-NO" smtClean="0"/>
              <a:t>11.08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17355-B70A-42D7-9570-98A917CBA393}" type="datetime1">
              <a:rPr lang="nb-NO" smtClean="0"/>
              <a:t>11.08.2022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E9888-E330-48E6-B4E8-F3F424C4B937}" type="datetime1">
              <a:rPr lang="nb-NO" smtClean="0"/>
              <a:t>11.08.2022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FE150-D5C5-4C22-8A62-9F1556A4DCC5}" type="datetime1">
              <a:rPr lang="nb-NO" smtClean="0"/>
              <a:t>11.08.2022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E6A92-3D05-4BF7-B97B-9704CDA99AE0}" type="datetime1">
              <a:rPr lang="nb-NO" smtClean="0"/>
              <a:t>11.08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2E7EC-9A81-4371-AD0D-D0E48E9864BA}" type="datetime1">
              <a:rPr lang="nb-NO" smtClean="0"/>
              <a:t>11.08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35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00" imgH="396" progId="TCLayout.ActiveDocument.1">
                  <p:embed/>
                </p:oleObj>
              </mc:Choice>
              <mc:Fallback>
                <p:oleObj name="think-cell Folie" r:id="rId15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5F6F82-AE2E-4D13-96F7-A569B3B4EB67}" type="datetime1">
              <a:rPr lang="nb-NO" smtClean="0"/>
              <a:t>11.08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nb-NO" smtClean="0"/>
              <a:t>‹Nr.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hyperlink" Target="https://wiki.unece.org/pages/viewpage.action?pageId=92012814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11" Type="http://schemas.openxmlformats.org/officeDocument/2006/relationships/image" Target="../media/image5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18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en-GB" sz="4000" b="1" dirty="0"/>
              <a:t>Status Report to 76</a:t>
            </a:r>
            <a:r>
              <a:rPr lang="en-GB" sz="4000" b="1" baseline="30000" dirty="0"/>
              <a:t>th</a:t>
            </a:r>
            <a:r>
              <a:rPr lang="en-GB" sz="4000" b="1" dirty="0"/>
              <a:t>  Session of GRBP</a:t>
            </a:r>
            <a:br>
              <a:rPr lang="en-GB" sz="4000" b="1" dirty="0"/>
            </a:br>
            <a:r>
              <a:rPr lang="en-GB" sz="4000" b="1" dirty="0"/>
              <a:t>(September 2022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Informal Working Group on Measurement Uncertainty (IWGMU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1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8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Transmitted by Chair of IWG M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33290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formal Document </a:t>
            </a:r>
            <a:r>
              <a:rPr lang="en-GB" b="1" dirty="0"/>
              <a:t>GRBP-76-08</a:t>
            </a:r>
          </a:p>
          <a:p>
            <a:r>
              <a:rPr lang="en-GB" dirty="0"/>
              <a:t>76</a:t>
            </a:r>
            <a:r>
              <a:rPr lang="en-GB" baseline="30000" dirty="0"/>
              <a:t>th</a:t>
            </a:r>
            <a:r>
              <a:rPr lang="en-GB" dirty="0"/>
              <a:t>  GRBP, September 5-7, 2022, </a:t>
            </a:r>
          </a:p>
          <a:p>
            <a:r>
              <a:rPr lang="en-GB" dirty="0"/>
              <a:t>agenda item 2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44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sz="3600" b="1" dirty="0"/>
              <a:t>IWG Measurement Uncertainty (est. 2019)</a:t>
            </a:r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62704" y="2821846"/>
            <a:ext cx="9336850" cy="71893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4296266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est methods (UN Regulations No. 51 &amp; No. 117 as a sta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ensate systematic errors if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aluate the influence of random errors (remaining quantities)</a:t>
            </a:r>
            <a:endParaRPr lang="de-DE" dirty="0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Targets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911057"/>
            <a:ext cx="6196119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Nor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93739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Roles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6" y="4402794"/>
            <a:ext cx="6426198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hlinkClick r:id="rId6"/>
              </a:rPr>
              <a:t>https://wiki.unece.org/pages/viewpage.action?pageId=92012814</a:t>
            </a:r>
            <a:endParaRPr lang="de-DE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4402794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IWG MU </a:t>
            </a:r>
            <a:r>
              <a:rPr lang="en-GB" b="1" dirty="0"/>
              <a:t>homepage</a:t>
            </a:r>
          </a:p>
        </p:txBody>
      </p:sp>
    </p:spTree>
    <p:extLst>
      <p:ext uri="{BB962C8B-B14F-4D97-AF65-F5344CB8AC3E}">
        <p14:creationId xmlns:p14="http://schemas.microsoft.com/office/powerpoint/2010/main" val="3539588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5298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00" imgH="396" progId="TCLayout.ActiveDocument.1">
                  <p:embed/>
                </p:oleObj>
              </mc:Choice>
              <mc:Fallback>
                <p:oleObj name="think-cell Folie" r:id="rId5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75AB84-F47B-4E17-9AE6-340E84F8C1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473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00" imgH="396" progId="TCLayout.ActiveDocument.1">
                  <p:embed/>
                </p:oleObj>
              </mc:Choice>
              <mc:Fallback>
                <p:oleObj name="think-cell Folie" r:id="rId7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75AB84-F47B-4E17-9AE6-340E84F8C1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3600" b="1" dirty="0"/>
              <a:t>IWG Measurement Uncertainty: Facts and </a:t>
            </a:r>
            <a:r>
              <a:rPr lang="en-GB" sz="3600" b="1" dirty="0"/>
              <a:t>Figure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4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48566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4000" b="1" dirty="0"/>
              <a:t>&gt;27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Number of Meetings </a:t>
            </a:r>
            <a:br>
              <a:rPr lang="en-US" sz="2000" b="1" dirty="0"/>
            </a:br>
            <a:r>
              <a:rPr lang="en-US" sz="2000" b="1" dirty="0"/>
              <a:t>since 75th GRBP in February 2022 </a:t>
            </a:r>
            <a:r>
              <a:rPr lang="de-DE" sz="2000" b="1" dirty="0"/>
              <a:t> 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50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1" dirty="0">
                <a:solidFill>
                  <a:schemeClr val="accent6"/>
                </a:solidFill>
              </a:rPr>
              <a:t>Web-meetings</a:t>
            </a:r>
          </a:p>
          <a:p>
            <a:r>
              <a:rPr lang="en-GB" dirty="0"/>
              <a:t>17</a:t>
            </a:r>
            <a:r>
              <a:rPr lang="en-GB" baseline="30000" dirty="0"/>
              <a:t>th</a:t>
            </a:r>
            <a:r>
              <a:rPr lang="en-GB" dirty="0"/>
              <a:t> IWG MU: 1</a:t>
            </a:r>
            <a:r>
              <a:rPr lang="en-GB" baseline="30000" dirty="0"/>
              <a:t>st</a:t>
            </a:r>
            <a:r>
              <a:rPr lang="en-GB" dirty="0"/>
              <a:t> March 2022</a:t>
            </a:r>
          </a:p>
          <a:p>
            <a:r>
              <a:rPr lang="en-GB" dirty="0"/>
              <a:t>18</a:t>
            </a:r>
            <a:r>
              <a:rPr lang="en-GB" baseline="30000" dirty="0"/>
              <a:t>th</a:t>
            </a:r>
            <a:r>
              <a:rPr lang="en-GB" dirty="0"/>
              <a:t> IWG MU: 5</a:t>
            </a:r>
            <a:r>
              <a:rPr lang="en-GB" baseline="30000" dirty="0"/>
              <a:t>th</a:t>
            </a:r>
            <a:r>
              <a:rPr lang="en-GB" dirty="0"/>
              <a:t> April 2022</a:t>
            </a:r>
          </a:p>
          <a:p>
            <a:r>
              <a:rPr lang="en-GB" dirty="0"/>
              <a:t>19</a:t>
            </a:r>
            <a:r>
              <a:rPr lang="en-GB" baseline="30000" dirty="0"/>
              <a:t>th</a:t>
            </a:r>
            <a:r>
              <a:rPr lang="en-GB" dirty="0"/>
              <a:t> IWG MU: 10th May 2022</a:t>
            </a:r>
          </a:p>
          <a:p>
            <a:r>
              <a:rPr lang="en-GB" b="1" dirty="0">
                <a:solidFill>
                  <a:schemeClr val="accent6"/>
                </a:solidFill>
              </a:rPr>
              <a:t>Hybrid Meeting</a:t>
            </a:r>
          </a:p>
          <a:p>
            <a:r>
              <a:rPr lang="en-GB" dirty="0"/>
              <a:t>20</a:t>
            </a:r>
            <a:r>
              <a:rPr lang="en-GB" baseline="30000" dirty="0"/>
              <a:t>th</a:t>
            </a:r>
            <a:r>
              <a:rPr lang="en-GB" dirty="0"/>
              <a:t> IWG MU: 29</a:t>
            </a:r>
            <a:r>
              <a:rPr lang="en-GB" baseline="30000" dirty="0"/>
              <a:t>th</a:t>
            </a:r>
            <a:r>
              <a:rPr lang="en-GB" dirty="0"/>
              <a:t> June 2022, Trondheim (NOR)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889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Ps:</a:t>
            </a:r>
            <a:br>
              <a:rPr lang="de-DE" dirty="0"/>
            </a:br>
            <a:r>
              <a:rPr lang="en-GB" dirty="0"/>
              <a:t>Netherlands, Italy, UK, China, Norway, Germany, France, Russian Federation, India, Spain, Japan, European Com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NGO‘s: </a:t>
            </a:r>
            <a:br>
              <a:rPr lang="de-DE" dirty="0"/>
            </a:br>
            <a:r>
              <a:rPr lang="de-DE" dirty="0"/>
              <a:t>OICA, ETRTO, CLEPA, ISO, ETO, IMM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/>
              <a:t>Participants </a:t>
            </a:r>
            <a:br>
              <a:rPr lang="en-GB" sz="2000" b="1" dirty="0"/>
            </a:br>
            <a:r>
              <a:rPr lang="en-GB" sz="2000" b="1" dirty="0"/>
              <a:t>(Contracting Parties &amp; NGOs)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7221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11D24C3-F2B3-4561-85D9-CC8B4E397E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88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11D24C3-F2B3-4561-85D9-CC8B4E397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764" y="-55164"/>
            <a:ext cx="11293014" cy="1325563"/>
          </a:xfrm>
        </p:spPr>
        <p:txBody>
          <a:bodyPr vert="horz"/>
          <a:lstStyle/>
          <a:p>
            <a:r>
              <a:rPr lang="en-GB" sz="3600" b="1" dirty="0"/>
              <a:t>IWG MU – Work since 75</a:t>
            </a:r>
            <a:r>
              <a:rPr lang="en-GB" sz="3600" b="1" baseline="30000" dirty="0"/>
              <a:t>th</a:t>
            </a:r>
            <a:r>
              <a:rPr lang="en-GB" sz="3600" b="1" dirty="0"/>
              <a:t> GRBP (February ‘22)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2" y="1566137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1" y="4104978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548BBEC0-06B9-4908-82E5-B2C15A7610F4}"/>
              </a:ext>
            </a:extLst>
          </p:cNvPr>
          <p:cNvCxnSpPr>
            <a:cxnSpLocks/>
          </p:cNvCxnSpPr>
          <p:nvPr/>
        </p:nvCxnSpPr>
        <p:spPr>
          <a:xfrm>
            <a:off x="493222" y="5095797"/>
            <a:ext cx="11377850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592254" y="1202009"/>
            <a:ext cx="7000037" cy="290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600" b="1" dirty="0"/>
              <a:t>UN Regulation No. 51.03</a:t>
            </a:r>
            <a:endParaRPr lang="en-US" sz="1600" dirty="0"/>
          </a:p>
          <a:p>
            <a:pPr>
              <a:spcBef>
                <a:spcPts val="300"/>
              </a:spcBef>
            </a:pPr>
            <a:r>
              <a:rPr lang="en-GB" sz="1400" dirty="0"/>
              <a:t>A combined document from IWG MU and IWG ASEP was submitted from GRBP to the 187</a:t>
            </a:r>
            <a:r>
              <a:rPr lang="en-GB" sz="1400" baseline="30000" dirty="0"/>
              <a:t>th</a:t>
            </a:r>
            <a:r>
              <a:rPr lang="en-GB" sz="1400" dirty="0"/>
              <a:t> session of WP.29 (21-24 June): Proposals for Supplement 7 to 03 series of amendments to Regulation No.51. </a:t>
            </a:r>
          </a:p>
          <a:p>
            <a:pPr>
              <a:spcBef>
                <a:spcPts val="300"/>
              </a:spcBef>
            </a:pPr>
            <a:r>
              <a:rPr lang="en-GB" sz="1400" dirty="0"/>
              <a:t>For the 76</a:t>
            </a:r>
            <a:r>
              <a:rPr lang="en-GB" sz="1400" baseline="30000" dirty="0"/>
              <a:t>th</a:t>
            </a:r>
            <a:r>
              <a:rPr lang="en-GB" sz="1400" dirty="0"/>
              <a:t> session of GRBP, two Working Documents for proposals for Supplement 8 series of 03 series of amendments have been parallelly submitted: 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ISO: to include the latest version of the test track specification: ISO 10844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IWG MU: for a updated definition of PMR and a clarification of the calculation of L</a:t>
            </a:r>
            <a:r>
              <a:rPr lang="en-GB" sz="1400" baseline="-25000" dirty="0"/>
              <a:t>urban</a:t>
            </a:r>
            <a:r>
              <a:rPr lang="en-GB" sz="1400" dirty="0"/>
              <a:t> for BEV, where </a:t>
            </a:r>
            <a:r>
              <a:rPr lang="en-GB" sz="1400" dirty="0" err="1"/>
              <a:t>L</a:t>
            </a:r>
            <a:r>
              <a:rPr lang="en-GB" sz="1400" baseline="-25000" dirty="0" err="1"/>
              <a:t>wot</a:t>
            </a:r>
            <a:r>
              <a:rPr lang="en-GB" sz="1400" dirty="0"/>
              <a:t> &lt; </a:t>
            </a:r>
            <a:r>
              <a:rPr lang="en-GB" sz="1400" dirty="0" err="1"/>
              <a:t>L</a:t>
            </a:r>
            <a:r>
              <a:rPr lang="en-GB" sz="1400" baseline="-25000" dirty="0" err="1"/>
              <a:t>crs</a:t>
            </a:r>
            <a:r>
              <a:rPr lang="en-GB" sz="1400" dirty="0" err="1"/>
              <a:t>including</a:t>
            </a:r>
            <a:r>
              <a:rPr lang="en-GB" sz="1400" dirty="0"/>
              <a:t> an Informal Document proposing that Suppl. 8 does not apply to existing type approvals, originally granted prior to date of enforcement of Supplement 7.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560184" y="3969604"/>
            <a:ext cx="6921271" cy="1015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sz="1600" b="1" dirty="0"/>
              <a:t>UN Regulation No. 117.03</a:t>
            </a:r>
            <a:r>
              <a:rPr lang="en-US" sz="1600" dirty="0"/>
              <a:t> </a:t>
            </a:r>
          </a:p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sz="1400" dirty="0"/>
              <a:t>Due to the progress of work, ETRTO have asked to postpone the status report until </a:t>
            </a:r>
            <a:br>
              <a:rPr lang="en-US" sz="1400" dirty="0"/>
            </a:br>
            <a:r>
              <a:rPr lang="en-US" sz="1400" dirty="0"/>
              <a:t>October meeting of IWG MU (21</a:t>
            </a:r>
            <a:r>
              <a:rPr lang="en-US" sz="1400" baseline="30000" dirty="0"/>
              <a:t>st</a:t>
            </a:r>
            <a:r>
              <a:rPr lang="en-US" sz="1400" dirty="0"/>
              <a:t> session). </a:t>
            </a:r>
          </a:p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sz="1400" dirty="0"/>
              <a:t>I</a:t>
            </a:r>
            <a:r>
              <a:rPr lang="en-GB" sz="1400" dirty="0"/>
              <a:t>SO includes the latest version of the test track specification: ISO 10844</a:t>
            </a:r>
            <a:endParaRPr lang="en-US" sz="1400" dirty="0"/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180694" y="1202010"/>
            <a:ext cx="3634290" cy="266063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216000" rIns="108000" bIns="72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GB" sz="1600" b="1" dirty="0"/>
              <a:t>ECE/TRANS/WP.29/2022/84:</a:t>
            </a:r>
            <a:br>
              <a:rPr lang="en-GB" sz="1600" b="1" dirty="0"/>
            </a:br>
            <a:r>
              <a:rPr lang="en-GB" sz="1600" dirty="0"/>
              <a:t>Supplement 7</a:t>
            </a:r>
            <a:br>
              <a:rPr lang="en-GB" sz="1600" dirty="0"/>
            </a:br>
            <a:endParaRPr lang="en-GB" sz="1600" dirty="0"/>
          </a:p>
          <a:p>
            <a:pPr>
              <a:lnSpc>
                <a:spcPts val="2100"/>
              </a:lnSpc>
              <a:spcBef>
                <a:spcPts val="0"/>
              </a:spcBef>
            </a:pPr>
            <a:endParaRPr lang="en-GB" sz="1600" b="1" dirty="0"/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GB" sz="1600" b="1" dirty="0"/>
              <a:t>Working Document GRBP-2022-13 (ISO):</a:t>
            </a:r>
            <a:br>
              <a:rPr lang="en-GB" sz="1600" b="1" dirty="0"/>
            </a:br>
            <a:r>
              <a:rPr lang="en-GB" sz="1600" dirty="0"/>
              <a:t>Supplement 8</a:t>
            </a:r>
          </a:p>
          <a:p>
            <a:pPr>
              <a:lnSpc>
                <a:spcPts val="2000"/>
              </a:lnSpc>
              <a:spcBef>
                <a:spcPts val="1200"/>
              </a:spcBef>
            </a:pPr>
            <a:r>
              <a:rPr lang="en-GB" sz="1600" b="1" dirty="0"/>
              <a:t>Working Doc. GRBP-2022-16 (IWGMU)&amp; GRBP-76-09: </a:t>
            </a:r>
            <a:r>
              <a:rPr lang="en-GB" sz="1600" dirty="0"/>
              <a:t>Supplement 8</a:t>
            </a:r>
            <a:endParaRPr lang="en-GB" sz="1600" b="1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180694" y="3970091"/>
            <a:ext cx="3634290" cy="105221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1600" dirty="0"/>
              <a:t>No Informal document in 76</a:t>
            </a:r>
            <a:r>
              <a:rPr lang="en-US" sz="1600" baseline="30000" dirty="0"/>
              <a:t>th</a:t>
            </a:r>
            <a:r>
              <a:rPr lang="en-US" sz="1600" dirty="0"/>
              <a:t> GRBP</a:t>
            </a:r>
          </a:p>
          <a:p>
            <a:pPr>
              <a:lnSpc>
                <a:spcPts val="2000"/>
              </a:lnSpc>
            </a:pPr>
            <a:r>
              <a:rPr lang="en-GB" sz="1600" b="1" dirty="0"/>
              <a:t>Working Doc. GRBP-2022-14 (ISO):</a:t>
            </a:r>
            <a:br>
              <a:rPr lang="en-GB" sz="1600" b="1" dirty="0"/>
            </a:br>
            <a:r>
              <a:rPr lang="en-GB" sz="1600" dirty="0"/>
              <a:t>Supplement 14</a:t>
            </a:r>
            <a:endParaRPr lang="en-US" sz="1600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F22AD9FC-80CB-4C91-A096-3E89C57855DA}"/>
              </a:ext>
            </a:extLst>
          </p:cNvPr>
          <p:cNvCxnSpPr>
            <a:cxnSpLocks/>
          </p:cNvCxnSpPr>
          <p:nvPr/>
        </p:nvCxnSpPr>
        <p:spPr>
          <a:xfrm>
            <a:off x="467794" y="3916125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6E2BB80C-92DE-4EEC-AEA5-8236B6BDDCF2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5" y="2617479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63069E5A-8AC5-445E-ADAD-52F1993056C4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6" y="3249000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EEE82BF4-6554-4ABE-9D51-198E2EF17845}"/>
              </a:ext>
            </a:extLst>
          </p:cNvPr>
          <p:cNvSpPr txBox="1">
            <a:spLocks/>
          </p:cNvSpPr>
          <p:nvPr/>
        </p:nvSpPr>
        <p:spPr bwMode="gray">
          <a:xfrm>
            <a:off x="8180694" y="5169282"/>
            <a:ext cx="3600000" cy="1540603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600" dirty="0"/>
          </a:p>
          <a:p>
            <a:pPr>
              <a:lnSpc>
                <a:spcPts val="1920"/>
              </a:lnSpc>
              <a:spcBef>
                <a:spcPts val="300"/>
              </a:spcBef>
            </a:pPr>
            <a:endParaRPr lang="en-US" sz="1600" dirty="0"/>
          </a:p>
          <a:p>
            <a:pPr>
              <a:lnSpc>
                <a:spcPts val="1920"/>
              </a:lnSpc>
              <a:spcBef>
                <a:spcPts val="0"/>
              </a:spcBef>
            </a:pPr>
            <a:endParaRPr lang="en-US" sz="1600" dirty="0"/>
          </a:p>
          <a:p>
            <a:pPr>
              <a:lnSpc>
                <a:spcPts val="1920"/>
              </a:lnSpc>
              <a:spcBef>
                <a:spcPts val="300"/>
              </a:spcBef>
            </a:pPr>
            <a:r>
              <a:rPr lang="en-US" sz="1600" dirty="0"/>
              <a:t>IWGMU-20-04 (ISO)</a:t>
            </a:r>
          </a:p>
          <a:p>
            <a:pPr>
              <a:lnSpc>
                <a:spcPts val="1920"/>
              </a:lnSpc>
              <a:spcBef>
                <a:spcPts val="300"/>
              </a:spcBef>
            </a:pPr>
            <a:endParaRPr lang="en-GB" sz="1600" b="1" dirty="0"/>
          </a:p>
          <a:p>
            <a:pPr>
              <a:lnSpc>
                <a:spcPts val="1920"/>
              </a:lnSpc>
              <a:spcBef>
                <a:spcPts val="300"/>
              </a:spcBef>
            </a:pPr>
            <a:r>
              <a:rPr lang="en-GB" sz="1600" b="1" dirty="0"/>
              <a:t>Working Doc. GRBP-2022-15 (ISO):</a:t>
            </a:r>
            <a:br>
              <a:rPr lang="en-GB" sz="1600" b="1" dirty="0"/>
            </a:br>
            <a:r>
              <a:rPr lang="en-GB" sz="1600" dirty="0"/>
              <a:t>Supplement 3</a:t>
            </a:r>
            <a:endParaRPr lang="en-US" sz="1600" dirty="0"/>
          </a:p>
          <a:p>
            <a:endParaRPr lang="en-US" sz="1600" dirty="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41969989-EBB5-41FC-8C88-93FCE082A812}"/>
              </a:ext>
            </a:extLst>
          </p:cNvPr>
          <p:cNvSpPr txBox="1">
            <a:spLocks/>
          </p:cNvSpPr>
          <p:nvPr/>
        </p:nvSpPr>
        <p:spPr bwMode="gray">
          <a:xfrm>
            <a:off x="560184" y="5095798"/>
            <a:ext cx="7102810" cy="1614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SzPct val="100000"/>
              <a:buNone/>
            </a:pPr>
            <a:r>
              <a:rPr lang="en-US" sz="1600" b="1" dirty="0"/>
              <a:t>UN Regulation No.138</a:t>
            </a:r>
          </a:p>
          <a:p>
            <a:pPr marL="0" lvl="1" indent="0">
              <a:buSzPct val="100000"/>
              <a:buNone/>
            </a:pPr>
            <a:r>
              <a:rPr lang="en-US" sz="1400" dirty="0"/>
              <a:t>The convener of ISOWG42 has presented the latest work on ISO 16254 which is related to measurement uncertainties. There will be a revision of this standard, basically on the measurement set-up for microphone numbers and positions. The discussion on the impact of these revisions will be continued in the Task Force QRTV.</a:t>
            </a:r>
          </a:p>
          <a:p>
            <a:pPr marL="0" lvl="1" indent="0">
              <a:buSzPct val="100000"/>
              <a:buNone/>
            </a:pPr>
            <a:r>
              <a:rPr lang="en-US" sz="1400" dirty="0"/>
              <a:t>I</a:t>
            </a:r>
            <a:r>
              <a:rPr lang="en-GB" sz="1400" dirty="0"/>
              <a:t>SO includes the latest version of the test track specification: ISO 10844</a:t>
            </a:r>
            <a:endParaRPr lang="en-US" sz="1400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102555E6-662A-414C-A93E-C97BA7A5F59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1" y="6275469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65C618C0-305C-4E25-8803-3C180C9E917F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1" y="4653830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B09DF67-2400-4E0B-808E-0AE8ABE266F8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62991" y="5598988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0216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2A7EE5E-371A-47E9-ABBE-A7A32FF575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4188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2A7EE5E-371A-47E9-ABBE-A7A32FF57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799" y="164400"/>
            <a:ext cx="10864026" cy="1237680"/>
          </a:xfrm>
        </p:spPr>
        <p:txBody>
          <a:bodyPr vert="horz"/>
          <a:lstStyle/>
          <a:p>
            <a:r>
              <a:rPr lang="de-DE" sz="3600" b="1" dirty="0"/>
              <a:t>IWG MU – Work </a:t>
            </a:r>
            <a:r>
              <a:rPr lang="de-DE" sz="3600" b="1" dirty="0" err="1"/>
              <a:t>since</a:t>
            </a:r>
            <a:r>
              <a:rPr lang="de-DE" sz="3600" b="1" dirty="0"/>
              <a:t> 75th GRBP (</a:t>
            </a:r>
            <a:r>
              <a:rPr lang="en-GB" sz="3600" b="1" dirty="0"/>
              <a:t>February</a:t>
            </a:r>
            <a:r>
              <a:rPr lang="de-DE" sz="3600" b="1" dirty="0"/>
              <a:t> 2022)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03A3806-2690-443A-B0E0-21CF0F7C118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014935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8" y="3795590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700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F566A19-3C48-4BE6-AB14-0DBBB1BC45FF}"/>
              </a:ext>
            </a:extLst>
          </p:cNvPr>
          <p:cNvCxnSpPr>
            <a:cxnSpLocks/>
          </p:cNvCxnSpPr>
          <p:nvPr/>
        </p:nvCxnSpPr>
        <p:spPr>
          <a:xfrm>
            <a:off x="503799" y="3027529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611457" y="3129125"/>
            <a:ext cx="6632910" cy="1678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600" b="1" dirty="0"/>
              <a:t>Status Report </a:t>
            </a:r>
            <a:r>
              <a:rPr lang="en-GB" sz="1600" dirty="0"/>
              <a:t>with Proposal</a:t>
            </a:r>
            <a:r>
              <a:rPr lang="en-GB" sz="1600" b="1" dirty="0"/>
              <a:t>: </a:t>
            </a:r>
            <a:r>
              <a:rPr lang="en-GB" sz="1600" i="1" dirty="0"/>
              <a:t>“How to handle Measurement Uncertainties due to its Regulatory Impact?“ </a:t>
            </a:r>
            <a:r>
              <a:rPr lang="en-GB" sz="1600" dirty="0"/>
              <a:t>was presented to 187</a:t>
            </a:r>
            <a:r>
              <a:rPr lang="en-GB" sz="1600" baseline="30000" dirty="0"/>
              <a:t>th</a:t>
            </a:r>
            <a:r>
              <a:rPr lang="en-GB" sz="1600" dirty="0"/>
              <a:t> WP.29 by the chair of IWG MU:</a:t>
            </a:r>
            <a:endParaRPr lang="en-GB" sz="1600" i="1" dirty="0"/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WP.29 endorsed the proposed procedure to implement a new annex </a:t>
            </a:r>
            <a:br>
              <a:rPr lang="en-GB" sz="1400" dirty="0"/>
            </a:br>
            <a:r>
              <a:rPr lang="en-GB" sz="1400" dirty="0"/>
              <a:t>in Regulation No. 51 and Regulation No.117. 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However, concerns were raised about the possible increase in workload </a:t>
            </a:r>
            <a:br>
              <a:rPr lang="en-GB" sz="1400" dirty="0"/>
            </a:br>
            <a:r>
              <a:rPr lang="en-GB" sz="1400" dirty="0"/>
              <a:t>when such a procedure should become mandatory for all UN vehicle regulations.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sz="1400" dirty="0"/>
              <a:t>An Informal Document will be provided for the 77</a:t>
            </a:r>
            <a:r>
              <a:rPr lang="en-GB" sz="1400" baseline="30000" dirty="0"/>
              <a:t>th</a:t>
            </a:r>
            <a:r>
              <a:rPr lang="en-GB" sz="1400" dirty="0"/>
              <a:t> session of GRBP (Febr.2023)</a:t>
            </a:r>
            <a:endParaRPr lang="en-GB" sz="1600" dirty="0">
              <a:solidFill>
                <a:srgbClr val="00B0F0"/>
              </a:solidFill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611457" y="1426931"/>
            <a:ext cx="6515321" cy="1678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en-GB" sz="1600" dirty="0"/>
              <a:t>Updated </a:t>
            </a:r>
            <a:r>
              <a:rPr lang="en-GB" sz="1600" b="1" dirty="0"/>
              <a:t>Document for Reference </a:t>
            </a:r>
            <a:r>
              <a:rPr lang="en-GB" sz="1600" dirty="0"/>
              <a:t>(IWGMU-14.5-02.Rev1)</a:t>
            </a:r>
            <a:br>
              <a:rPr lang="en-GB" sz="1600" dirty="0"/>
            </a:br>
            <a:r>
              <a:rPr lang="en-GB" sz="1600" dirty="0"/>
              <a:t>“</a:t>
            </a:r>
            <a:r>
              <a:rPr lang="en-US" sz="1600" i="1" dirty="0"/>
              <a:t>A General Approach to Estimate Measurement Uncertainties</a:t>
            </a:r>
            <a:r>
              <a:rPr lang="en-US" sz="1600" dirty="0"/>
              <a:t>”:</a:t>
            </a:r>
            <a:endParaRPr lang="en-GB" sz="1600" dirty="0"/>
          </a:p>
          <a:p>
            <a:pPr marL="285750" indent="-285750">
              <a:lnSpc>
                <a:spcPts val="2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Chair has incorporated the feedback from members of IWG MU.</a:t>
            </a:r>
          </a:p>
          <a:p>
            <a:pPr marL="285750" indent="-285750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Table 7.1 (example of calculation of uncertainties Reg.51.03) has been updated according to revision of ISO 362-1. </a:t>
            </a:r>
          </a:p>
          <a:p>
            <a:pPr marL="285750" indent="-285750">
              <a:lnSpc>
                <a:spcPts val="2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GB" sz="1400" dirty="0"/>
              <a:t>Some editorial changes are proposed (GRBP-76-11).</a:t>
            </a:r>
            <a:endParaRPr lang="en-GB" sz="1600" dirty="0">
              <a:solidFill>
                <a:srgbClr val="00B0F0"/>
              </a:solidFill>
            </a:endParaRP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211665" y="1426931"/>
            <a:ext cx="3600000" cy="1536009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b="1" dirty="0"/>
              <a:t>Working Document GRBP-2022-9.rev1</a:t>
            </a:r>
            <a:br>
              <a:rPr lang="en-GB" sz="1600" b="1" dirty="0"/>
            </a:br>
            <a:r>
              <a:rPr lang="en-US" sz="1600" b="1" dirty="0"/>
              <a:t>Informal Document GRBP-76-11</a:t>
            </a:r>
            <a:r>
              <a:rPr lang="en-GB" sz="1600" b="1" dirty="0"/>
              <a:t>:</a:t>
            </a:r>
            <a:br>
              <a:rPr lang="en-GB" sz="1600" b="1" dirty="0"/>
            </a:br>
            <a:r>
              <a:rPr lang="en-GB" sz="1600" dirty="0"/>
              <a:t>Doc. for Reference and its Revision, agenda item 7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211665" y="3129126"/>
            <a:ext cx="3600000" cy="1678494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Informal Document WP.29-187-06</a:t>
            </a:r>
            <a:r>
              <a:rPr lang="en-GB" sz="1600" dirty="0"/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680575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3386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800" dirty="0"/>
              <a:t>   </a:t>
            </a:r>
            <a:r>
              <a:rPr lang="nb-NO" sz="4800" dirty="0" err="1"/>
              <a:t>Thank</a:t>
            </a:r>
            <a:r>
              <a:rPr lang="nb-NO" sz="4800" dirty="0"/>
              <a:t> </a:t>
            </a:r>
            <a:r>
              <a:rPr lang="nb-NO" sz="4800" dirty="0" err="1"/>
              <a:t>you</a:t>
            </a:r>
            <a:r>
              <a:rPr lang="nb-NO" sz="4800" dirty="0"/>
              <a:t>!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7" ma:contentTypeDescription="Create a new document." ma:contentTypeScope="" ma:versionID="3dda9090b5883dd13a17919601bc9337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ded5af2ee258f7c0b7926b0cd9be3d49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6A945C-BA3C-40BB-9298-0D94C48143FD}"/>
</file>

<file path=customXml/itemProps2.xml><?xml version="1.0" encoding="utf-8"?>
<ds:datastoreItem xmlns:ds="http://schemas.openxmlformats.org/officeDocument/2006/customXml" ds:itemID="{7837D962-15CE-4B52-A959-EAC39BA5737A}"/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6</Words>
  <Application>Microsoft Office PowerPoint</Application>
  <PresentationFormat>Breitbild</PresentationFormat>
  <Paragraphs>71</Paragraphs>
  <Slides>6</Slides>
  <Notes>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Folie</vt:lpstr>
      <vt:lpstr>Status Report to 76th  Session of GRBP (September 2022)</vt:lpstr>
      <vt:lpstr>IWG Measurement Uncertainty (est. 2019)</vt:lpstr>
      <vt:lpstr>IWG Measurement Uncertainty: Facts and Figures</vt:lpstr>
      <vt:lpstr>IWG MU – Work since 75th GRBP (February ‘22)</vt:lpstr>
      <vt:lpstr>IWG MU – Work since 75th GRBP (February 2022)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1-25T10:23:16Z</dcterms:created>
  <dcterms:modified xsi:type="dcterms:W3CDTF">2022-08-11T09:55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